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43374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334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g_c_Jd-hP-s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420B6778-C2A5-4424-9457-114DBE1ACF1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2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Ben Platt, Julianne Moore, Kaitlyn </a:t>
            </a:r>
            <a:r>
              <a:rPr lang="en-US" dirty="0" err="1">
                <a:solidFill>
                  <a:schemeClr val="accent6"/>
                </a:solidFill>
              </a:rPr>
              <a:t>Dever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tephen </a:t>
            </a:r>
            <a:r>
              <a:rPr lang="en-US" dirty="0" err="1">
                <a:solidFill>
                  <a:schemeClr val="accent6"/>
                </a:solidFill>
              </a:rPr>
              <a:t>Chblosky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The Perks of Being a Wallflower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La </a:t>
            </a:r>
            <a:r>
              <a:rPr lang="en-US" i="1" dirty="0" err="1">
                <a:solidFill>
                  <a:schemeClr val="accent6"/>
                </a:solidFill>
              </a:rPr>
              <a:t>La</a:t>
            </a:r>
            <a:r>
              <a:rPr lang="en-US" i="1" dirty="0">
                <a:solidFill>
                  <a:schemeClr val="accent6"/>
                </a:solidFill>
              </a:rPr>
              <a:t> Lan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amous stage musical from 2015 is one of the most successful productions of all time, having taken $226 million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Women Index: 166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84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daptation of the Tony and Grammy Award-winning musical about a high school student suffering from social anxiety, and his journey of self-discovery following the death of a classmate.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Dear Evan Hanse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 new story jumps from stage to screen”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6940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6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Dear Evan Hanse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Dear Evan Hansen</dc:description>
  <cp:lastModifiedBy/>
  <cp:revision>1</cp:revision>
  <dcterms:created xsi:type="dcterms:W3CDTF">2019-03-25T11:13:20Z</dcterms:created>
  <dcterms:modified xsi:type="dcterms:W3CDTF">2021-07-07T10:36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Dear Evan Hansen</vt:lpwstr>
  </property>
</Properties>
</file>